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7"/>
  </p:notesMasterIdLst>
  <p:sldIdLst>
    <p:sldId id="397" r:id="rId2"/>
    <p:sldId id="399" r:id="rId3"/>
    <p:sldId id="392" r:id="rId4"/>
    <p:sldId id="400" r:id="rId5"/>
    <p:sldId id="401" r:id="rId6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14" autoAdjust="0"/>
    <p:restoredTop sz="92857" autoAdjust="0"/>
  </p:normalViewPr>
  <p:slideViewPr>
    <p:cSldViewPr snapToGrid="0">
      <p:cViewPr>
        <p:scale>
          <a:sx n="121" d="100"/>
          <a:sy n="121" d="100"/>
        </p:scale>
        <p:origin x="12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30/12/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pPr algn="just"/>
            <a:r>
              <a:rPr lang="en-GB" sz="1200" b="1" dirty="0"/>
              <a:t>With a estimated reduction in Surjek’s Revenues due to the Maintenance Outage, Quarter X presents the best balance of revenue-loss mitigation with respect to market pricing, as opposed to Quarter Y which represents the highest demand and Water Balancing Market Prices</a:t>
            </a:r>
            <a:endParaRPr lang="en-AU" sz="12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98D41DE5-8C4C-43CA-9432-43E7654D7C5A}"/>
              </a:ext>
            </a:extLst>
          </p:cNvPr>
          <p:cNvSpPr/>
          <p:nvPr/>
        </p:nvSpPr>
        <p:spPr>
          <a:xfrm>
            <a:off x="303213" y="1238975"/>
            <a:ext cx="366553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e first slide we want to show is our overall conclusion regarding which Quarter we should perform the Maintenance Outage in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F225D1F-2782-744F-9E93-0E43AF5D0F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9238" y="1169937"/>
            <a:ext cx="4597400" cy="440566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298AF9F-2FCC-034C-8B97-FB1065E6709E}"/>
              </a:ext>
            </a:extLst>
          </p:cNvPr>
          <p:cNvSpPr/>
          <p:nvPr/>
        </p:nvSpPr>
        <p:spPr>
          <a:xfrm>
            <a:off x="4306713" y="1146725"/>
            <a:ext cx="4479925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AU" b="1" dirty="0"/>
              <a:t>Average Water Balancing Market Price vs. Market Demand</a:t>
            </a:r>
          </a:p>
        </p:txBody>
      </p:sp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r>
              <a:rPr lang="en-GB" sz="1200" b="1" dirty="0"/>
              <a:t>Of the three Desalination Plants, all three remain profitable at current market prices by a favourable margin; Clearly </a:t>
            </a:r>
            <a:r>
              <a:rPr lang="en-GB" sz="1200" b="1" dirty="0" err="1"/>
              <a:t>Surjek</a:t>
            </a:r>
            <a:r>
              <a:rPr lang="en-GB" sz="1200" b="1" dirty="0"/>
              <a:t> is the most cost-effective followed by </a:t>
            </a:r>
            <a:r>
              <a:rPr lang="en-GB" sz="1200" b="1" dirty="0" err="1"/>
              <a:t>Kootha</a:t>
            </a:r>
            <a:r>
              <a:rPr lang="en-GB" sz="1200" b="1" dirty="0"/>
              <a:t> and lastly </a:t>
            </a:r>
            <a:r>
              <a:rPr lang="en-GB" sz="1200" b="1" dirty="0" err="1"/>
              <a:t>Jutik</a:t>
            </a:r>
            <a:r>
              <a:rPr lang="en-GB" sz="1200" b="1" dirty="0"/>
              <a:t> which is consistent across the July-2013 to June-2014 period. </a:t>
            </a:r>
            <a:endParaRPr lang="en-AU" sz="1200" b="1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01DE78-159E-4563-BC40-E7848615A3AD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45136C0F-6251-49D7-A7E6-166D4D8B5A9E}"/>
              </a:ext>
            </a:extLst>
          </p:cNvPr>
          <p:cNvSpPr/>
          <p:nvPr/>
        </p:nvSpPr>
        <p:spPr>
          <a:xfrm>
            <a:off x="303213" y="1050254"/>
            <a:ext cx="86582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e second slide we want to show is our overall conclusion regarding how cost-effective the Desalination Units are (i.e. Kootha, Surjek and Jutik) when compared to the Overall Water Market Balancing Price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16FDBF8-65C6-504C-9017-0F3C9060C7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4219" y="2348260"/>
            <a:ext cx="7493000" cy="290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pPr algn="just"/>
            <a:r>
              <a:rPr lang="en-GB" sz="1200" b="1" dirty="0"/>
              <a:t>Contrasting the Cost to Produce against the Volume of Water Produced highlights clear </a:t>
            </a:r>
            <a:r>
              <a:rPr lang="en-GB" sz="1200" b="1" i="1" dirty="0"/>
              <a:t>&lt;what economic principles indicates costs declining with volume?&gt;</a:t>
            </a:r>
            <a:r>
              <a:rPr lang="en-GB" sz="1200" b="1" dirty="0"/>
              <a:t> with costs rapidly dwindling across all plants as volume surges, with this being particularly noticeable across the Kootha and Surjek Plants with costs dropping as much as 50%.  </a:t>
            </a:r>
            <a:endParaRPr lang="en-AU" sz="12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0FB55E80-72B6-4994-8552-223A758DA182}"/>
              </a:ext>
            </a:extLst>
          </p:cNvPr>
          <p:cNvSpPr/>
          <p:nvPr/>
        </p:nvSpPr>
        <p:spPr>
          <a:xfrm>
            <a:off x="237331" y="1132733"/>
            <a:ext cx="86058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e third slide we want to show is our overall conclusion regarding the economic relationship between price and quantities for each of the three plants.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32ED5A-00C1-8B41-9C37-E057271693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51" y="1682943"/>
            <a:ext cx="4249739" cy="25527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E654CD3-4EBD-034A-9D52-39E699C59F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0250" y="1682943"/>
            <a:ext cx="4368800" cy="25527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2C0FE1-A8B4-1849-88A5-390B5F46E3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22489" y="4379839"/>
            <a:ext cx="4597400" cy="2165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pPr algn="just"/>
            <a:r>
              <a:rPr lang="en-GB" sz="1400" b="1" dirty="0"/>
              <a:t>Drilling down further from a product-perspective, reveals two different patterns of elasticity where</a:t>
            </a:r>
            <a:br>
              <a:rPr lang="en-GB" sz="1400" b="1" dirty="0"/>
            </a:br>
            <a:r>
              <a:rPr lang="en-GB" sz="1400" b="1" dirty="0"/>
              <a:t>product tends to be relatively price elastic regardless of quantity purchased, whilst hard water is more representative of an Elastic in price-to-volume relationship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3E2A6C54-03E1-4BB5-8A12-2A2E4DFCFAB7}"/>
              </a:ext>
            </a:extLst>
          </p:cNvPr>
          <p:cNvSpPr/>
          <p:nvPr/>
        </p:nvSpPr>
        <p:spPr>
          <a:xfrm>
            <a:off x="303213" y="1238975"/>
            <a:ext cx="84391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e fourth slide we want to show is our overall conclusion regarding the economic principles of elasticity for our individual water products at a macro-level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74E8231-7682-FA49-B910-8BE953752F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2019" y="1625562"/>
            <a:ext cx="4597400" cy="210646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3451F53-D426-CE46-B92A-22FF7F3CC8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139" y="3795292"/>
            <a:ext cx="8570911" cy="2451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85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pPr algn="just"/>
            <a:r>
              <a:rPr lang="en-GB" sz="1400" b="1" dirty="0"/>
              <a:t>Lastly, when viewing the economic pricing data from an micro-perspective, it is indicative that Hard Water is seen as more of a ‘less core’ product than that of Soft Water, whose price remains largely flexible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0475A4C7-409F-4219-9841-5251BF35DEB9}"/>
              </a:ext>
            </a:extLst>
          </p:cNvPr>
          <p:cNvSpPr/>
          <p:nvPr/>
        </p:nvSpPr>
        <p:spPr>
          <a:xfrm>
            <a:off x="303213" y="1238975"/>
            <a:ext cx="86058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e fifth and final slide we want to show is our overall conclusion regarding the economic principles of elasticity for our individual water products at a </a:t>
            </a:r>
            <a:r>
              <a:rPr lang="en-AU" sz="1200" b="1" u="sng" dirty="0"/>
              <a:t>micro level.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EAE15E-169C-7E4B-AF47-2D4AE0A2D1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1550" y="1700640"/>
            <a:ext cx="4190781" cy="211461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8E26587-9867-3A47-9AB3-2EB82F5F04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450" y="3955988"/>
            <a:ext cx="8605837" cy="244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7186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684</TotalTime>
  <Words>369</Words>
  <Application>Microsoft Macintosh PowerPoint</Application>
  <PresentationFormat>Custom</PresentationFormat>
  <Paragraphs>11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1_Synergy_CF_YNR013</vt:lpstr>
      <vt:lpstr>think-cell Slide</vt:lpstr>
      <vt:lpstr>With a estimated reduction in Surjek’s Revenues due to the Maintenance Outage, Quarter X presents the best balance of revenue-loss mitigation with respect to market pricing, as opposed to Quarter Y which represents the highest demand and Water Balancing Market Prices</vt:lpstr>
      <vt:lpstr>Of the three Desalination Plants, all three remain profitable at current market prices by a favourable margin; Clearly Surjek is the most cost-effective followed by Kootha and lastly Jutik which is consistent across the July-2013 to June-2014 period. </vt:lpstr>
      <vt:lpstr>Contrasting the Cost to Produce against the Volume of Water Produced highlights clear &lt;what economic principles indicates costs declining with volume?&gt; with costs rapidly dwindling across all plants as volume surges, with this being particularly noticeable across the Kootha and Surjek Plants with costs dropping as much as 50%.  </vt:lpstr>
      <vt:lpstr>Drilling down further from a product-perspective, reveals two different patterns of elasticity where product tends to be relatively price elastic regardless of quantity purchased, whilst hard water is more representative of an Elastic in price-to-volume relationship.</vt:lpstr>
      <vt:lpstr>Lastly, when viewing the economic pricing data from an micro-perspective, it is indicative that Hard Water is seen as more of a ‘less core’ product than that of Soft Water, whose price remains largely flexible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Shichy Seanan</cp:lastModifiedBy>
  <cp:revision>71</cp:revision>
  <dcterms:created xsi:type="dcterms:W3CDTF">2020-04-12T13:23:13Z</dcterms:created>
  <dcterms:modified xsi:type="dcterms:W3CDTF">2020-12-30T18:40:05Z</dcterms:modified>
</cp:coreProperties>
</file>